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83653" r:id="rId2"/>
  </p:sldMasterIdLst>
  <p:notesMasterIdLst>
    <p:notesMasterId r:id="rId18"/>
  </p:notesMasterIdLst>
  <p:sldIdLst>
    <p:sldId id="258" r:id="rId3"/>
    <p:sldId id="288" r:id="rId4"/>
    <p:sldId id="300" r:id="rId5"/>
    <p:sldId id="301" r:id="rId6"/>
    <p:sldId id="302" r:id="rId7"/>
    <p:sldId id="303" r:id="rId8"/>
    <p:sldId id="304" r:id="rId9"/>
    <p:sldId id="305" r:id="rId10"/>
    <p:sldId id="306" r:id="rId11"/>
    <p:sldId id="289" r:id="rId12"/>
    <p:sldId id="310" r:id="rId13"/>
    <p:sldId id="307" r:id="rId14"/>
    <p:sldId id="308" r:id="rId15"/>
    <p:sldId id="311" r:id="rId16"/>
    <p:sldId id="299" r:id="rId17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>
      <p:cViewPr varScale="1">
        <p:scale>
          <a:sx n="114" d="100"/>
          <a:sy n="114" d="100"/>
        </p:scale>
        <p:origin x="1524" y="1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DD6C31-76B3-4164-8E76-30C71D3DABCF}" type="datetimeFigureOut">
              <a:rPr lang="zh-CN" altLang="en-US" smtClean="0"/>
              <a:pPr/>
              <a:t>2025/1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AE3550-F14F-46E0-B680-402B42ED591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50481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lum contrast="20000"/>
          </a:blip>
          <a:srcRect t="21962"/>
          <a:stretch>
            <a:fillRect/>
          </a:stretch>
        </p:blipFill>
        <p:spPr bwMode="auto">
          <a:xfrm>
            <a:off x="0" y="1501775"/>
            <a:ext cx="9144000" cy="4906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9" descr="60驶向辉煌80cmX180cm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clrChange>
              <a:clrFrom>
                <a:srgbClr val="A10311"/>
              </a:clrFrom>
              <a:clrTo>
                <a:srgbClr val="A10311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0"/>
            <a:ext cx="9159875" cy="4762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fld id="{9B5C0977-9C28-4542-9ABA-399477D60D56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440" y="4997250"/>
            <a:ext cx="7773120" cy="64633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600" b="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.xml"/><Relationship Id="rId7" Type="http://schemas.openxmlformats.org/officeDocument/2006/relationships/image" Target="../media/image5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" descr="C:\Users\renshuliang.ZHENGBANG\Desktop\JPG\PPT-05.jp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4" descr="C:\Users\renshuliang.ZHENGBANG\Desktop\logo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fld id="{9B5C0977-9C28-4542-9ABA-399477D60D56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</p:sldLayoutIdLst>
  <p:hf hdr="0" ftr="0" dt="0"/>
  <p:txStyles>
    <p:titleStyle>
      <a:lvl1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  <a:sym typeface="Calibri" pitchFamily="34" charset="0"/>
        </a:defRPr>
      </a:lvl1pPr>
      <a:lvl2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2pPr>
      <a:lvl3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3pPr>
      <a:lvl4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4pPr>
      <a:lvl5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5pPr>
      <a:lvl6pPr marL="13716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6pPr>
      <a:lvl7pPr marL="18288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7pPr>
      <a:lvl8pPr marL="22860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8pPr>
      <a:lvl9pPr marL="27432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Calibri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ea typeface="+mn-ea"/>
          <a:sym typeface="Calibri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ea typeface="+mn-ea"/>
          <a:sym typeface="Calibri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图片 10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lum contrast="20000"/>
          </a:blip>
          <a:srcRect t="21962"/>
          <a:stretch>
            <a:fillRect/>
          </a:stretch>
        </p:blipFill>
        <p:spPr bwMode="auto">
          <a:xfrm>
            <a:off x="0" y="1501775"/>
            <a:ext cx="9144000" cy="4906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9" descr="60驶向辉煌80cmX180cm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clrChange>
              <a:clrFrom>
                <a:srgbClr val="A10311"/>
              </a:clrFrom>
              <a:clrTo>
                <a:srgbClr val="A10311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0"/>
            <a:ext cx="9159875" cy="4762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52" name="Picture 121" descr="E:\市场开发部\规划评审\各部门反馈\6 品牌\LOGO\国际公司VI20130605\北汽国际英文组合20130603v1.0.jpg"/>
          <p:cNvPicPr>
            <a:picLocks noChangeAspect="1" noChangeArrowheads="1"/>
          </p:cNvPicPr>
          <p:nvPr userDrawn="1"/>
        </p:nvPicPr>
        <p:blipFill>
          <a:blip r:embed="rId7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46904" t="65286" r="13025" b="17357"/>
          <a:stretch>
            <a:fillRect/>
          </a:stretch>
        </p:blipFill>
        <p:spPr bwMode="auto">
          <a:xfrm>
            <a:off x="327025" y="6381750"/>
            <a:ext cx="1371600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3" name="Picture 270" descr="C:\Users\Wly\Desktop\QQ截图20130609132425.png"/>
          <p:cNvPicPr>
            <a:picLocks noChangeAspect="1" noChangeArrowheads="1"/>
          </p:cNvPicPr>
          <p:nvPr userDrawn="1"/>
        </p:nvPicPr>
        <p:blipFill>
          <a:blip r:embed="rId8" cstate="print"/>
          <a:srcRect l="50000" t="-21597" r="10040"/>
          <a:stretch>
            <a:fillRect/>
          </a:stretch>
        </p:blipFill>
        <p:spPr bwMode="auto">
          <a:xfrm>
            <a:off x="6710363" y="6381750"/>
            <a:ext cx="1581150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灯片编号占位符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B5C0977-9C28-4542-9ABA-399477D60D56}" type="slidenum">
              <a:rPr lang="zh-CN" altLang="en-US" smtClean="0"/>
              <a:pPr/>
              <a:t>1</a:t>
            </a:fld>
            <a:endParaRPr lang="zh-CN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971600" y="1484784"/>
            <a:ext cx="72728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/>
              <a:t>Анкета кандидата в дилеры       ООО «БАИК РУС»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267744" y="4030032"/>
            <a:ext cx="626469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Компания:</a:t>
            </a:r>
          </a:p>
          <a:p>
            <a:endParaRPr lang="ru-RU" sz="2000" b="1" dirty="0"/>
          </a:p>
          <a:p>
            <a:r>
              <a:rPr lang="ru-RU" sz="2000" b="1" dirty="0"/>
              <a:t>Город:</a:t>
            </a:r>
          </a:p>
          <a:p>
            <a:endParaRPr lang="ru-RU" sz="2000" b="1" dirty="0"/>
          </a:p>
          <a:p>
            <a:r>
              <a:rPr lang="ru-RU" sz="2000" b="1" dirty="0"/>
              <a:t>Дата: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2" y="2908775"/>
            <a:ext cx="4896544" cy="3611978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DDE412C-B6C9-4148-879E-04590E100286}"/>
              </a:ext>
            </a:extLst>
          </p:cNvPr>
          <p:cNvSpPr/>
          <p:nvPr/>
        </p:nvSpPr>
        <p:spPr>
          <a:xfrm>
            <a:off x="179512" y="1052736"/>
            <a:ext cx="8568952" cy="20882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>
              <a:solidFill>
                <a:sysClr val="windowText" lastClr="000000"/>
              </a:solidFill>
            </a:endParaRPr>
          </a:p>
          <a:p>
            <a:pPr algn="ctr"/>
            <a:r>
              <a:rPr lang="ru-RU" sz="1600" b="1" dirty="0">
                <a:solidFill>
                  <a:sysClr val="windowText" lastClr="000000"/>
                </a:solidFill>
              </a:rPr>
              <a:t>Планировки предложения должны включать в себя следующие данные:</a:t>
            </a:r>
          </a:p>
          <a:p>
            <a:pPr algn="ctr"/>
            <a:endParaRPr lang="ru-RU" sz="1600" b="1" dirty="0">
              <a:solidFill>
                <a:sysClr val="windowText" lastClr="00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ysClr val="windowText" lastClr="000000"/>
                </a:solidFill>
              </a:rPr>
              <a:t>Схема выставочного зала </a:t>
            </a:r>
            <a:r>
              <a:rPr lang="en-US" sz="1400" b="1" dirty="0">
                <a:solidFill>
                  <a:sysClr val="windowText" lastClr="000000"/>
                </a:solidFill>
              </a:rPr>
              <a:t>BAIC </a:t>
            </a:r>
            <a:r>
              <a:rPr lang="ru-RU" sz="1400" b="1" dirty="0">
                <a:solidFill>
                  <a:sysClr val="windowText" lastClr="000000"/>
                </a:solidFill>
              </a:rPr>
              <a:t>от </a:t>
            </a:r>
            <a:r>
              <a:rPr lang="en-US" sz="1400" b="1" dirty="0">
                <a:solidFill>
                  <a:sysClr val="windowText" lastClr="000000"/>
                </a:solidFill>
              </a:rPr>
              <a:t>45</a:t>
            </a:r>
            <a:r>
              <a:rPr lang="ru-RU" sz="1400" b="1" dirty="0">
                <a:solidFill>
                  <a:sysClr val="windowText" lastClr="000000"/>
                </a:solidFill>
              </a:rPr>
              <a:t>0</a:t>
            </a:r>
            <a:r>
              <a:rPr lang="en-US" sz="1400" b="1" dirty="0">
                <a:solidFill>
                  <a:sysClr val="windowText" lastClr="000000"/>
                </a:solidFill>
              </a:rPr>
              <a:t>*</a:t>
            </a:r>
            <a:r>
              <a:rPr lang="ru-RU" sz="1400" b="1" dirty="0">
                <a:solidFill>
                  <a:sysClr val="windowText" lastClr="000000"/>
                </a:solidFill>
              </a:rPr>
              <a:t> кв.м. для постоянного решения, </a:t>
            </a:r>
            <a:r>
              <a:rPr lang="ru-RU" sz="1400" dirty="0">
                <a:solidFill>
                  <a:sysClr val="windowText" lastClr="000000"/>
                </a:solidFill>
              </a:rPr>
              <a:t>с отметкой зонирования и расположения бренда (в случае мульти-брендового размещения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ysClr val="windowText" lastClr="00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C00000"/>
                </a:solidFill>
              </a:rPr>
              <a:t>Допускается размещение во «временном» формате в случае дефицита выставочных площадей. Такое предложение должно быть также отражено в анкете.</a:t>
            </a:r>
            <a:r>
              <a:rPr lang="en-US" sz="1400" b="1" dirty="0">
                <a:solidFill>
                  <a:srgbClr val="C00000"/>
                </a:solidFill>
              </a:rPr>
              <a:t> </a:t>
            </a:r>
            <a:endParaRPr lang="ru-RU" sz="1400" b="1" dirty="0">
              <a:solidFill>
                <a:srgbClr val="C0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ru-RU" sz="1400" b="1" dirty="0">
              <a:solidFill>
                <a:srgbClr val="C0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C00000"/>
                </a:solidFill>
              </a:rPr>
              <a:t>Минимальная площадь выставочного зала для запуска марки BAIC 200 кв. м</a:t>
            </a:r>
          </a:p>
          <a:p>
            <a:pPr lvl="4"/>
            <a:r>
              <a:rPr lang="ru-RU" sz="1400" dirty="0">
                <a:solidFill>
                  <a:sysClr val="windowText" lastClr="000000"/>
                </a:solidFill>
              </a:rPr>
              <a:t> </a:t>
            </a:r>
          </a:p>
        </p:txBody>
      </p:sp>
      <p:sp>
        <p:nvSpPr>
          <p:cNvPr id="13319" name="TextBox 2"/>
          <p:cNvSpPr>
            <a:spLocks noChangeArrowheads="1"/>
          </p:cNvSpPr>
          <p:nvPr/>
        </p:nvSpPr>
        <p:spPr bwMode="auto">
          <a:xfrm>
            <a:off x="285720" y="261938"/>
            <a:ext cx="608648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Планировка 1го этажа</a:t>
            </a:r>
          </a:p>
        </p:txBody>
      </p:sp>
      <p:sp>
        <p:nvSpPr>
          <p:cNvPr id="15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sp>
        <p:nvSpPr>
          <p:cNvPr id="8" name="Прямоугольник 7"/>
          <p:cNvSpPr/>
          <p:nvPr/>
        </p:nvSpPr>
        <p:spPr>
          <a:xfrm rot="19443831">
            <a:off x="576211" y="4679239"/>
            <a:ext cx="4282165" cy="41279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ример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Фото внешний вид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E0F6584-E565-405D-83AD-D4CB63EF168D}"/>
              </a:ext>
            </a:extLst>
          </p:cNvPr>
          <p:cNvSpPr/>
          <p:nvPr/>
        </p:nvSpPr>
        <p:spPr>
          <a:xfrm>
            <a:off x="402021" y="1124744"/>
            <a:ext cx="262495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1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152528A6-1F0C-40E9-BDDA-6149F3CAA3B4}"/>
              </a:ext>
            </a:extLst>
          </p:cNvPr>
          <p:cNvSpPr/>
          <p:nvPr/>
        </p:nvSpPr>
        <p:spPr>
          <a:xfrm>
            <a:off x="3259521" y="1124744"/>
            <a:ext cx="262495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2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81354D4-EC0C-4003-8F34-5F573CFF9412}"/>
              </a:ext>
            </a:extLst>
          </p:cNvPr>
          <p:cNvSpPr/>
          <p:nvPr/>
        </p:nvSpPr>
        <p:spPr>
          <a:xfrm>
            <a:off x="6117021" y="1124744"/>
            <a:ext cx="262495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3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6F9A6B05-DC41-433E-9BD3-5624425311D8}"/>
              </a:ext>
            </a:extLst>
          </p:cNvPr>
          <p:cNvSpPr/>
          <p:nvPr/>
        </p:nvSpPr>
        <p:spPr>
          <a:xfrm>
            <a:off x="412527" y="2908883"/>
            <a:ext cx="262495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4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9C38442-DD99-4A6E-860B-531F98494545}"/>
              </a:ext>
            </a:extLst>
          </p:cNvPr>
          <p:cNvSpPr/>
          <p:nvPr/>
        </p:nvSpPr>
        <p:spPr>
          <a:xfrm>
            <a:off x="3270027" y="2908883"/>
            <a:ext cx="262495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5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A53502BC-69E1-439A-83DA-9A32B30340A4}"/>
              </a:ext>
            </a:extLst>
          </p:cNvPr>
          <p:cNvSpPr/>
          <p:nvPr/>
        </p:nvSpPr>
        <p:spPr>
          <a:xfrm>
            <a:off x="6127527" y="2908883"/>
            <a:ext cx="262495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02021" y="4869160"/>
            <a:ext cx="83504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C00000"/>
                </a:solidFill>
              </a:rPr>
              <a:t>Необходимо сделать общие фото Фасада / дороги / прилегающей территории с разных сторон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095" y="1340768"/>
            <a:ext cx="2559729" cy="1224136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 rot="20002512">
            <a:off x="565909" y="1957204"/>
            <a:ext cx="2493600" cy="27011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34132184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Фото шоу-</a:t>
            </a:r>
            <a:r>
              <a:rPr kumimoji="1" lang="ru-RU" altLang="zh-CN" sz="2200" b="1" dirty="0" err="1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рум</a:t>
            </a:r>
            <a:endParaRPr kumimoji="1" lang="ru-RU" altLang="zh-CN" sz="2200" b="1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402021" y="5569495"/>
            <a:ext cx="83504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C00000"/>
                </a:solidFill>
              </a:rPr>
              <a:t>Необходимо сделать общие фото внутри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8E0F6584-E565-405D-83AD-D4CB63EF168D}"/>
              </a:ext>
            </a:extLst>
          </p:cNvPr>
          <p:cNvSpPr/>
          <p:nvPr/>
        </p:nvSpPr>
        <p:spPr>
          <a:xfrm>
            <a:off x="315308" y="1200152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1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шоу-рума)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152528A6-1F0C-40E9-BDDA-6149F3CAA3B4}"/>
              </a:ext>
            </a:extLst>
          </p:cNvPr>
          <p:cNvSpPr/>
          <p:nvPr/>
        </p:nvSpPr>
        <p:spPr>
          <a:xfrm>
            <a:off x="2471242" y="1200152"/>
            <a:ext cx="2014045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2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шоу-рума)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881354D4-EC0C-4003-8F34-5F573CFF9412}"/>
              </a:ext>
            </a:extLst>
          </p:cNvPr>
          <p:cNvSpPr/>
          <p:nvPr/>
        </p:nvSpPr>
        <p:spPr>
          <a:xfrm>
            <a:off x="4606166" y="1208038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3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шоу-рума)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6F9A6B05-DC41-433E-9BD3-5624425311D8}"/>
              </a:ext>
            </a:extLst>
          </p:cNvPr>
          <p:cNvSpPr/>
          <p:nvPr/>
        </p:nvSpPr>
        <p:spPr>
          <a:xfrm>
            <a:off x="315308" y="3007936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5 (клиентская зона)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9C38442-DD99-4A6E-860B-531F98494545}"/>
              </a:ext>
            </a:extLst>
          </p:cNvPr>
          <p:cNvSpPr/>
          <p:nvPr/>
        </p:nvSpPr>
        <p:spPr>
          <a:xfrm>
            <a:off x="2469953" y="3007936"/>
            <a:ext cx="2014045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6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рабочие места отдела продаж)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A53502BC-69E1-439A-83DA-9A32B30340A4}"/>
              </a:ext>
            </a:extLst>
          </p:cNvPr>
          <p:cNvSpPr/>
          <p:nvPr/>
        </p:nvSpPr>
        <p:spPr>
          <a:xfrm>
            <a:off x="4606166" y="3007936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7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рабочие места отдела продаж)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F560EE6B-FED0-4DD6-8C52-7F835EB4B33A}"/>
              </a:ext>
            </a:extLst>
          </p:cNvPr>
          <p:cNvSpPr/>
          <p:nvPr/>
        </p:nvSpPr>
        <p:spPr>
          <a:xfrm>
            <a:off x="6751594" y="1208038"/>
            <a:ext cx="207709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4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ресепшн / входная группа)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A915025C-7BB8-431D-999E-A88DE8EE6EB9}"/>
              </a:ext>
            </a:extLst>
          </p:cNvPr>
          <p:cNvSpPr/>
          <p:nvPr/>
        </p:nvSpPr>
        <p:spPr>
          <a:xfrm>
            <a:off x="6750279" y="3007936"/>
            <a:ext cx="2078413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8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Сервисное бюро)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021" y="1401400"/>
            <a:ext cx="1865723" cy="1029525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 rot="20002512">
            <a:off x="35819" y="1957204"/>
            <a:ext cx="2493600" cy="27011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5332619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Фото сервисная зона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E0F6584-E565-405D-83AD-D4CB63EF168D}"/>
              </a:ext>
            </a:extLst>
          </p:cNvPr>
          <p:cNvSpPr/>
          <p:nvPr/>
        </p:nvSpPr>
        <p:spPr>
          <a:xfrm>
            <a:off x="315308" y="1215911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1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сервисной зоны)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52528A6-1F0C-40E9-BDDA-6149F3CAA3B4}"/>
              </a:ext>
            </a:extLst>
          </p:cNvPr>
          <p:cNvSpPr/>
          <p:nvPr/>
        </p:nvSpPr>
        <p:spPr>
          <a:xfrm>
            <a:off x="2471242" y="1215911"/>
            <a:ext cx="2014045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2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сервисной зоны)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81354D4-EC0C-4003-8F34-5F573CFF9412}"/>
              </a:ext>
            </a:extLst>
          </p:cNvPr>
          <p:cNvSpPr/>
          <p:nvPr/>
        </p:nvSpPr>
        <p:spPr>
          <a:xfrm>
            <a:off x="4606166" y="1223797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3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сервисной зоны)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F9A6B05-DC41-433E-9BD3-5624425311D8}"/>
              </a:ext>
            </a:extLst>
          </p:cNvPr>
          <p:cNvSpPr/>
          <p:nvPr/>
        </p:nvSpPr>
        <p:spPr>
          <a:xfrm>
            <a:off x="315308" y="3007936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5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мойка)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9C38442-DD99-4A6E-860B-531F98494545}"/>
              </a:ext>
            </a:extLst>
          </p:cNvPr>
          <p:cNvSpPr/>
          <p:nvPr/>
        </p:nvSpPr>
        <p:spPr>
          <a:xfrm>
            <a:off x="2469953" y="3007936"/>
            <a:ext cx="2014045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6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прямая приемка)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53502BC-69E1-439A-83DA-9A32B30340A4}"/>
              </a:ext>
            </a:extLst>
          </p:cNvPr>
          <p:cNvSpPr/>
          <p:nvPr/>
        </p:nvSpPr>
        <p:spPr>
          <a:xfrm>
            <a:off x="4606166" y="3007936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7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склад З/Ч)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560EE6B-FED0-4DD6-8C52-7F835EB4B33A}"/>
              </a:ext>
            </a:extLst>
          </p:cNvPr>
          <p:cNvSpPr/>
          <p:nvPr/>
        </p:nvSpPr>
        <p:spPr>
          <a:xfrm>
            <a:off x="6751594" y="1223797"/>
            <a:ext cx="207709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4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сервисной зоны)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A915025C-7BB8-431D-999E-A88DE8EE6EB9}"/>
              </a:ext>
            </a:extLst>
          </p:cNvPr>
          <p:cNvSpPr/>
          <p:nvPr/>
        </p:nvSpPr>
        <p:spPr>
          <a:xfrm>
            <a:off x="6750279" y="3007936"/>
            <a:ext cx="2078413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8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малярно-кузовной цех)</a:t>
            </a:r>
            <a:r>
              <a:rPr lang="en-US" dirty="0">
                <a:solidFill>
                  <a:sysClr val="windowText" lastClr="000000"/>
                </a:solidFill>
              </a:rPr>
              <a:t> </a:t>
            </a:r>
            <a:r>
              <a:rPr lang="ru-RU" dirty="0">
                <a:solidFill>
                  <a:sysClr val="windowText" lastClr="000000"/>
                </a:solidFill>
              </a:rPr>
              <a:t>при наличии*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02021" y="5229200"/>
            <a:ext cx="83504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C00000"/>
                </a:solidFill>
              </a:rPr>
              <a:t>Необходимо сделать  подробные фото сервисной зоны / Склада з/ч /  МКЦ * </a:t>
            </a:r>
          </a:p>
          <a:p>
            <a:endParaRPr lang="ru-RU" sz="1400" dirty="0">
              <a:solidFill>
                <a:srgbClr val="C00000"/>
              </a:solidFill>
            </a:endParaRPr>
          </a:p>
          <a:p>
            <a:r>
              <a:rPr lang="ru-RU" sz="1400" dirty="0">
                <a:solidFill>
                  <a:srgbClr val="C00000"/>
                </a:solidFill>
              </a:rPr>
              <a:t>* - при наличии в ДЦ</a:t>
            </a:r>
          </a:p>
          <a:p>
            <a:endParaRPr lang="ru-RU" sz="1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6105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Заключительные положения*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67544" y="908720"/>
            <a:ext cx="8280920" cy="33009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50" b="1" dirty="0"/>
              <a:t>АНТИКОРРУПЦИОННАЯ ОГОВОРКА</a:t>
            </a:r>
            <a:endParaRPr lang="ru-RU" sz="1050" dirty="0"/>
          </a:p>
          <a:p>
            <a:r>
              <a:rPr lang="ru-RU" sz="900" dirty="0"/>
              <a:t>1. Стороны подтверждают, что они, их аффилированные лица, работники или посредники до подписания Договора, а также во время исполнения обязательств по Договору не выплачивают, не предлагают выплатить и не разрешают выплату каких-либо денежных средств или ценностей, прямо или косвенно, любым лицам для оказания влияния на действия или решения этих лиц с целью получить какие-либо неправомерные преимущества или иные неправомерные цели (в том числе в целях подписания Договора, получения скидок и др.).</a:t>
            </a:r>
          </a:p>
          <a:p>
            <a:r>
              <a:rPr lang="ru-RU" sz="900" dirty="0"/>
              <a:t>2. При исполнении своих обязательств по будущему Договору, Стороны, их аффилированные лица, работники или посредники не осуществляют действия, квалифицируемые применимым для целей Договора законодательством, как дача/получение взятки, коммерческий подкуп, а также действия, нарушающие требования применимого законодательства и международных актов о противодействии легализации (отмыванию) доходов, полученных преступным путем. </a:t>
            </a:r>
          </a:p>
          <a:p>
            <a:r>
              <a:rPr lang="ru-RU" sz="900" dirty="0"/>
              <a:t>3. Стороны соглашаются, что соблюдение предписаний настоящего раздела Анкеты является для Сторон существенным условием Договора, при неисполнении которого одной из Сторон соответственно другая Сторона имеет право отказаться от исполнения Договора в одностороннем внесудебном порядке.</a:t>
            </a:r>
          </a:p>
          <a:p>
            <a:r>
              <a:rPr lang="ru-RU" sz="900" dirty="0"/>
              <a:t>4. В случае возникновения у Стороны подозрений, что произошло или может произойти нарушение антикоррупционного законодательства Российской Федерации, соответствующая Сторона обязуется уведомить другую Сторону в письменной форме. В письменном уведомлении Сторона обязана сослаться на факты или предоставить материалы, достоверно подтверждающие или дающие основание предполагать, что произошло или может произойти нарушение антикоррупционного законодательства Российской Федерации.  </a:t>
            </a:r>
          </a:p>
          <a:p>
            <a:r>
              <a:rPr lang="ru-RU" sz="900" dirty="0"/>
              <a:t>5. Стороны также стремятся не допускать возникновения обстоятельств, при которых личная заинтересованность работника Стороны, работника аффилированного лица Стороны и/или работника контрагента Стороны может негативно повлиять на исполнение Договора и причинить ущерб интересам любой из Сторон (Конфликт интересов).</a:t>
            </a:r>
          </a:p>
          <a:p>
            <a:r>
              <a:rPr lang="ru-RU" sz="900" dirty="0"/>
              <a:t>6. Сторона, получившая уведомление о нарушении каких-либо положений, обязана рассмотреть уведомление и сообщить другой Стороне об итогах его рассмотрения в течение 3 (трех) рабочих дней с даты получения письменного уведомления. К письменному уведомлению приравнивается получение сообщений по адресам электронной почты, признаваемым для целей исполнения Договора.</a:t>
            </a:r>
          </a:p>
          <a:p>
            <a:r>
              <a:rPr lang="ru-RU" sz="900" dirty="0"/>
              <a:t>7. Стороны гарантируют осуществление надлежащего разбирательства по фактам нарушения положений раздела Договора с соблюдением принципов конфиденциальности и применение эффективных мер по предотвращению возможных конфликтных ситуаций. Стороны гарантируют отсутствие негативных последствий как для уведомившей Стороны в целом, так и для конкретных работников уведомившей Стороны, сообщивших о факте нарушений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40784" y="4437112"/>
            <a:ext cx="4175232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C00000"/>
                </a:solidFill>
              </a:rPr>
              <a:t>Дата заполнения__________</a:t>
            </a:r>
          </a:p>
          <a:p>
            <a:endParaRPr lang="ru-RU" sz="1400" dirty="0">
              <a:solidFill>
                <a:srgbClr val="C00000"/>
              </a:solidFill>
            </a:endParaRPr>
          </a:p>
          <a:p>
            <a:r>
              <a:rPr lang="ru-RU" sz="1400" dirty="0">
                <a:solidFill>
                  <a:srgbClr val="C00000"/>
                </a:solidFill>
              </a:rPr>
              <a:t>Подпись уполномоченного лица__________</a:t>
            </a:r>
          </a:p>
          <a:p>
            <a:endParaRPr lang="ru-RU" sz="1400" dirty="0">
              <a:solidFill>
                <a:srgbClr val="C00000"/>
              </a:solidFill>
            </a:endParaRPr>
          </a:p>
          <a:p>
            <a:r>
              <a:rPr lang="ru-RU" sz="1400" dirty="0">
                <a:solidFill>
                  <a:srgbClr val="C00000"/>
                </a:solidFill>
              </a:rPr>
              <a:t>Печать</a:t>
            </a:r>
          </a:p>
          <a:p>
            <a:endParaRPr lang="ru-RU" sz="1400" dirty="0">
              <a:solidFill>
                <a:srgbClr val="C00000"/>
              </a:solidFill>
            </a:endParaRPr>
          </a:p>
          <a:p>
            <a:r>
              <a:rPr lang="ru-RU" sz="1100" b="1" dirty="0">
                <a:solidFill>
                  <a:srgbClr val="C00000"/>
                </a:solidFill>
              </a:rPr>
              <a:t>* Сканированная копия данной страницы должна быть приложена к заполненной заявке в формате </a:t>
            </a:r>
            <a:r>
              <a:rPr lang="en-US" sz="1100" b="1" dirty="0">
                <a:solidFill>
                  <a:srgbClr val="C00000"/>
                </a:solidFill>
              </a:rPr>
              <a:t>.</a:t>
            </a:r>
            <a:r>
              <a:rPr lang="en-US" sz="1100" b="1" dirty="0" err="1">
                <a:solidFill>
                  <a:srgbClr val="C00000"/>
                </a:solidFill>
              </a:rPr>
              <a:t>ppt</a:t>
            </a:r>
            <a:endParaRPr lang="ru-RU" sz="11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27043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7" name="矩形 13"/>
          <p:cNvSpPr>
            <a:spLocks noChangeArrowheads="1"/>
          </p:cNvSpPr>
          <p:nvPr/>
        </p:nvSpPr>
        <p:spPr bwMode="auto">
          <a:xfrm>
            <a:off x="971600" y="2420888"/>
            <a:ext cx="68580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48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Your Wish  </a:t>
            </a:r>
          </a:p>
          <a:p>
            <a:pPr algn="ctr"/>
            <a:r>
              <a:rPr lang="en-US" altLang="zh-CN" sz="48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BAIC Way</a:t>
            </a:r>
          </a:p>
        </p:txBody>
      </p:sp>
      <p:sp>
        <p:nvSpPr>
          <p:cNvPr id="12" name="灯片编号占位符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B5C0977-9C28-4542-9ABA-399477D60D56}" type="slidenum">
              <a:rPr lang="zh-CN" altLang="en-US" smtClean="0"/>
              <a:pPr/>
              <a:t>1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966097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Контактная информация</a:t>
            </a:r>
            <a:endParaRPr kumimoji="1" lang="en-US" altLang="zh-CN" sz="2200" b="1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2</a:t>
            </a:fld>
            <a:endParaRPr lang="zh-CN" altLang="en-US" dirty="0"/>
          </a:p>
        </p:txBody>
      </p:sp>
      <p:graphicFrame>
        <p:nvGraphicFramePr>
          <p:cNvPr id="72" name="Таблица 71">
            <a:extLst>
              <a:ext uri="{FF2B5EF4-FFF2-40B4-BE49-F238E27FC236}">
                <a16:creationId xmlns:a16="http://schemas.microsoft.com/office/drawing/2014/main" id="{6FC6C6D2-C8C8-4C90-A334-65E51DF1CA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984147"/>
              </p:ext>
            </p:extLst>
          </p:nvPr>
        </p:nvGraphicFramePr>
        <p:xfrm>
          <a:off x="323528" y="1526424"/>
          <a:ext cx="8496944" cy="3846792"/>
        </p:xfrm>
        <a:graphic>
          <a:graphicData uri="http://schemas.openxmlformats.org/drawingml/2006/table">
            <a:tbl>
              <a:tblPr/>
              <a:tblGrid>
                <a:gridCol w="431191">
                  <a:extLst>
                    <a:ext uri="{9D8B030D-6E8A-4147-A177-3AD203B41FA5}">
                      <a16:colId xmlns:a16="http://schemas.microsoft.com/office/drawing/2014/main" val="2577169992"/>
                    </a:ext>
                  </a:extLst>
                </a:gridCol>
                <a:gridCol w="2593144">
                  <a:extLst>
                    <a:ext uri="{9D8B030D-6E8A-4147-A177-3AD203B41FA5}">
                      <a16:colId xmlns:a16="http://schemas.microsoft.com/office/drawing/2014/main" val="1525269328"/>
                    </a:ext>
                  </a:extLst>
                </a:gridCol>
                <a:gridCol w="22021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08333">
                  <a:extLst>
                    <a:ext uri="{9D8B030D-6E8A-4147-A177-3AD203B41FA5}">
                      <a16:colId xmlns:a16="http://schemas.microsoft.com/office/drawing/2014/main" val="826017385"/>
                    </a:ext>
                  </a:extLst>
                </a:gridCol>
                <a:gridCol w="1862131">
                  <a:extLst>
                    <a:ext uri="{9D8B030D-6E8A-4147-A177-3AD203B41FA5}">
                      <a16:colId xmlns:a16="http://schemas.microsoft.com/office/drawing/2014/main" val="3979076066"/>
                    </a:ext>
                  </a:extLst>
                </a:gridCol>
              </a:tblGrid>
              <a:tr h="282852">
                <a:tc gridSpan="5"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Лицо</a:t>
                      </a:r>
                      <a:r>
                        <a:rPr lang="ru-RU" sz="14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</a:t>
                      </a:r>
                      <a:r>
                        <a:rPr lang="ru-RU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тветственное за подачу заявлени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1414302"/>
                  </a:ext>
                </a:extLst>
              </a:tr>
              <a:tr h="27342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Личная информация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фамили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им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тчество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1012628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8681386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олжность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возраст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8636515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7824523"/>
                  </a:ext>
                </a:extLst>
              </a:tr>
              <a:tr h="2734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онтакты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моб. телефон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e-mai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ругие контакты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6635088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9935272"/>
                  </a:ext>
                </a:extLst>
              </a:tr>
              <a:tr h="282852">
                <a:tc gridSpan="5"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Лицо ответственное за переговоры </a:t>
                      </a:r>
                      <a:r>
                        <a:rPr lang="ru-RU" sz="1400" b="0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с Дистрибьютором</a:t>
                      </a:r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Bahnschrift SemiBold SemiConden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9177421"/>
                  </a:ext>
                </a:extLst>
              </a:tr>
              <a:tr h="27342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Личная информация</a:t>
                      </a:r>
                      <a:endParaRPr lang="ru-RU" sz="1100" dirty="0"/>
                    </a:p>
                    <a:p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ru-RU" sz="1100" dirty="0"/>
                    </a:p>
                    <a:p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ru-RU" sz="1100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фамили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им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тчество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061155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9056634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олжность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возраст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87483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1631141"/>
                  </a:ext>
                </a:extLst>
              </a:tr>
              <a:tr h="2734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онтакты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моб. телефон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e-mai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другие контакты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345464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718308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Структура компании / Холдинга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788DEBEF-116A-4394-B8BB-96251150DE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2403231"/>
              </p:ext>
            </p:extLst>
          </p:nvPr>
        </p:nvGraphicFramePr>
        <p:xfrm>
          <a:off x="307427" y="1484783"/>
          <a:ext cx="8489734" cy="3375968"/>
        </p:xfrm>
        <a:graphic>
          <a:graphicData uri="http://schemas.openxmlformats.org/drawingml/2006/table">
            <a:tbl>
              <a:tblPr/>
              <a:tblGrid>
                <a:gridCol w="346356">
                  <a:extLst>
                    <a:ext uri="{9D8B030D-6E8A-4147-A177-3AD203B41FA5}">
                      <a16:colId xmlns:a16="http://schemas.microsoft.com/office/drawing/2014/main" val="588648022"/>
                    </a:ext>
                  </a:extLst>
                </a:gridCol>
                <a:gridCol w="2102296">
                  <a:extLst>
                    <a:ext uri="{9D8B030D-6E8A-4147-A177-3AD203B41FA5}">
                      <a16:colId xmlns:a16="http://schemas.microsoft.com/office/drawing/2014/main" val="2139418418"/>
                    </a:ext>
                  </a:extLst>
                </a:gridCol>
                <a:gridCol w="1527889">
                  <a:extLst>
                    <a:ext uri="{9D8B030D-6E8A-4147-A177-3AD203B41FA5}">
                      <a16:colId xmlns:a16="http://schemas.microsoft.com/office/drawing/2014/main" val="174711294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3125142524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val="557497367"/>
                    </a:ext>
                  </a:extLst>
                </a:gridCol>
                <a:gridCol w="1560865">
                  <a:extLst>
                    <a:ext uri="{9D8B030D-6E8A-4147-A177-3AD203B41FA5}">
                      <a16:colId xmlns:a16="http://schemas.microsoft.com/office/drawing/2014/main" val="1405432740"/>
                    </a:ext>
                  </a:extLst>
                </a:gridCol>
              </a:tblGrid>
              <a:tr h="153439">
                <a:tc gridSpan="6"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Информация о компании-кандидате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090969"/>
                  </a:ext>
                </a:extLst>
              </a:tr>
              <a:tr h="225447">
                <a:tc rowSpan="6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сновная информаци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именование юр. лица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web-sit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5759117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0656600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юридический адрес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фактический адрес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1169268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2259347"/>
                  </a:ext>
                </a:extLst>
              </a:tr>
              <a:tr h="67634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штат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отрудников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фера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еятельности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место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егистрации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ЮЛ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ата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егистрации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ЮЛ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6188624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299158"/>
                  </a:ext>
                </a:extLst>
              </a:tr>
              <a:tr h="676341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Финансовая информация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уставной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апитал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борот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омпании тыс.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.уб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ИНН/ОГРН/КПП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чистая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рибыль тыс. руб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9566089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2: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2: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0981646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3: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3: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7507932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4: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4: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289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96956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Структура компании / Холдинга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A1E158C2-8803-4BA6-850F-5505887DEE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6663679"/>
              </p:ext>
            </p:extLst>
          </p:nvPr>
        </p:nvGraphicFramePr>
        <p:xfrm>
          <a:off x="362606" y="1196752"/>
          <a:ext cx="8385857" cy="3467472"/>
        </p:xfrm>
        <a:graphic>
          <a:graphicData uri="http://schemas.openxmlformats.org/drawingml/2006/table">
            <a:tbl>
              <a:tblPr/>
              <a:tblGrid>
                <a:gridCol w="403554">
                  <a:extLst>
                    <a:ext uri="{9D8B030D-6E8A-4147-A177-3AD203B41FA5}">
                      <a16:colId xmlns:a16="http://schemas.microsoft.com/office/drawing/2014/main" val="394898801"/>
                    </a:ext>
                  </a:extLst>
                </a:gridCol>
                <a:gridCol w="2149656">
                  <a:extLst>
                    <a:ext uri="{9D8B030D-6E8A-4147-A177-3AD203B41FA5}">
                      <a16:colId xmlns:a16="http://schemas.microsoft.com/office/drawing/2014/main" val="1759206622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3695699060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4082613044"/>
                    </a:ext>
                  </a:extLst>
                </a:gridCol>
                <a:gridCol w="26817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16002">
                  <a:extLst>
                    <a:ext uri="{9D8B030D-6E8A-4147-A177-3AD203B41FA5}">
                      <a16:colId xmlns:a16="http://schemas.microsoft.com/office/drawing/2014/main" val="1011145249"/>
                    </a:ext>
                  </a:extLst>
                </a:gridCol>
              </a:tblGrid>
              <a:tr h="64502">
                <a:tc gridSpan="6"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Информация о бенефициарах 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2032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7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онтролируемые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юр. лица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(вкл. дочерние компании, входящие в Группу)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звание компании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ата регистрации юридического лица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бщая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выручк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омпании / чистая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прибыль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тыс. руб.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111691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2: /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2400249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3: /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0423694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4: /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8296531"/>
                  </a:ext>
                </a:extLst>
              </a:tr>
              <a:tr h="181131"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8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Учредители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звание компании или ФИО бенефициара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оля в уставном капитале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9896873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6692375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9053371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6291218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2026451"/>
                  </a:ext>
                </a:extLst>
              </a:tr>
              <a:tr h="181131">
                <a:tc rowSpan="6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9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лючевые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отрудники дл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я проекта </a:t>
                      </a:r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BAIC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ФИО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олжность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моб. телефон /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542448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email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839886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иректор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9142584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П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246" marR="6246" marT="624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578777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С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246" marR="6246" marT="624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3597412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ЗЧ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246" marR="6246" marT="624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6358515"/>
                  </a:ext>
                </a:extLst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3105204"/>
              </p:ext>
            </p:extLst>
          </p:nvPr>
        </p:nvGraphicFramePr>
        <p:xfrm>
          <a:off x="362606" y="4941169"/>
          <a:ext cx="8401959" cy="10081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29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083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006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6037">
                <a:tc gridSpan="3">
                  <a:txBody>
                    <a:bodyPr/>
                    <a:lstStyle/>
                    <a:p>
                      <a:pPr algn="ctr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Информация о количестве сотрудников, планируемых для сотрудничества с </a:t>
                      </a:r>
                      <a:r>
                        <a:rPr lang="en-US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BAIC</a:t>
                      </a:r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Bahnschrift SemiBold SemiConden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6037"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9.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Штат Отдела продаж: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Отметьте кол-во персонала, которое будет задействовано</a:t>
                      </a:r>
                      <a:r>
                        <a:rPr lang="ru-RU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(___ чел.)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6037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Штат отдела ППО: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Отметьте кол-во персонала, которое будет задействовано (___ чел.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96956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Структура компании / Холдинга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B3FF35FC-3D99-467A-9CE6-564E5AD82A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7869367"/>
              </p:ext>
            </p:extLst>
          </p:nvPr>
        </p:nvGraphicFramePr>
        <p:xfrm>
          <a:off x="457200" y="1196752"/>
          <a:ext cx="8229599" cy="3265654"/>
        </p:xfrm>
        <a:graphic>
          <a:graphicData uri="http://schemas.openxmlformats.org/drawingml/2006/table">
            <a:tbl>
              <a:tblPr/>
              <a:tblGrid>
                <a:gridCol w="318077">
                  <a:extLst>
                    <a:ext uri="{9D8B030D-6E8A-4147-A177-3AD203B41FA5}">
                      <a16:colId xmlns:a16="http://schemas.microsoft.com/office/drawing/2014/main" val="1156932829"/>
                    </a:ext>
                  </a:extLst>
                </a:gridCol>
                <a:gridCol w="1852507">
                  <a:extLst>
                    <a:ext uri="{9D8B030D-6E8A-4147-A177-3AD203B41FA5}">
                      <a16:colId xmlns:a16="http://schemas.microsoft.com/office/drawing/2014/main" val="2364663672"/>
                    </a:ext>
                  </a:extLst>
                </a:gridCol>
                <a:gridCol w="5545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295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val="4254156089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522511">
                  <a:extLst>
                    <a:ext uri="{9D8B030D-6E8A-4147-A177-3AD203B41FA5}">
                      <a16:colId xmlns:a16="http://schemas.microsoft.com/office/drawing/2014/main" val="3700800538"/>
                    </a:ext>
                  </a:extLst>
                </a:gridCol>
              </a:tblGrid>
              <a:tr h="233261">
                <a:tc gridSpan="7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Автомобильные бренды входящие в портфель компании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708821"/>
                  </a:ext>
                </a:extLst>
              </a:tr>
              <a:tr h="233261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Бренд / начало сотрудничества / кол-во дилерских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центро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5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4513650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6305436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7393841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1517251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2386315"/>
                  </a:ext>
                </a:extLst>
              </a:tr>
              <a:tr h="233261">
                <a:tc gridSpan="7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Опыт компании-претендента в автомобильной сфере по продажам а/м (оф. дилер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7150496"/>
                  </a:ext>
                </a:extLst>
              </a:tr>
              <a:tr h="466522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Бренд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Город, адрес локации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Продажи  новых а/м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шт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22/23/24 г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Кол-во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машино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-заездов (шт.) 22/23/24 г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Продажа</a:t>
                      </a:r>
                      <a:r>
                        <a:rPr lang="ru-RU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з/ч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(тыс.</a:t>
                      </a:r>
                      <a:r>
                        <a:rPr lang="ru-RU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руб.)</a:t>
                      </a:r>
                      <a:r>
                        <a:rPr lang="ru-RU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22/23/24 г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1820390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  <a:endParaRPr lang="ru-RU" sz="1100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637989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  <a:endParaRPr lang="ru-RU" sz="1100" dirty="0"/>
                    </a:p>
                  </a:txBody>
                  <a:tcPr marL="6350" marR="6350" marT="6350" marB="0" anchor="ctr"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310100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  <a:endParaRPr lang="ru-RU" sz="1100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9411321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endParaRPr lang="ru-RU" sz="110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1461662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endParaRPr lang="ru-RU" sz="110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48217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06391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Информация о предложении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47751041-3864-46AB-BB9C-37E85A1742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3302528"/>
              </p:ext>
            </p:extLst>
          </p:nvPr>
        </p:nvGraphicFramePr>
        <p:xfrm>
          <a:off x="263525" y="963601"/>
          <a:ext cx="8669938" cy="5273711"/>
        </p:xfrm>
        <a:graphic>
          <a:graphicData uri="http://schemas.openxmlformats.org/drawingml/2006/table">
            <a:tbl>
              <a:tblPr/>
              <a:tblGrid>
                <a:gridCol w="298446">
                  <a:extLst>
                    <a:ext uri="{9D8B030D-6E8A-4147-A177-3AD203B41FA5}">
                      <a16:colId xmlns:a16="http://schemas.microsoft.com/office/drawing/2014/main" val="1113965521"/>
                    </a:ext>
                  </a:extLst>
                </a:gridCol>
                <a:gridCol w="1345733">
                  <a:extLst>
                    <a:ext uri="{9D8B030D-6E8A-4147-A177-3AD203B41FA5}">
                      <a16:colId xmlns:a16="http://schemas.microsoft.com/office/drawing/2014/main" val="2260557044"/>
                    </a:ext>
                  </a:extLst>
                </a:gridCol>
                <a:gridCol w="2952328">
                  <a:extLst>
                    <a:ext uri="{9D8B030D-6E8A-4147-A177-3AD203B41FA5}">
                      <a16:colId xmlns:a16="http://schemas.microsoft.com/office/drawing/2014/main" val="2931323062"/>
                    </a:ext>
                  </a:extLst>
                </a:gridCol>
                <a:gridCol w="148967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91879">
                  <a:extLst>
                    <a:ext uri="{9D8B030D-6E8A-4147-A177-3AD203B41FA5}">
                      <a16:colId xmlns:a16="http://schemas.microsoft.com/office/drawing/2014/main" val="2510217721"/>
                    </a:ext>
                  </a:extLst>
                </a:gridCol>
                <a:gridCol w="1291879">
                  <a:extLst>
                    <a:ext uri="{9D8B030D-6E8A-4147-A177-3AD203B41FA5}">
                      <a16:colId xmlns:a16="http://schemas.microsoft.com/office/drawing/2014/main" val="1548568228"/>
                    </a:ext>
                  </a:extLst>
                </a:gridCol>
              </a:tblGrid>
              <a:tr h="204553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Детализация предложения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6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Адрес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6717361"/>
                  </a:ext>
                </a:extLst>
              </a:tr>
              <a:tr h="34810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Земельный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Участок / Дилерский центр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бщая площадь участка / здания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аренда или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обственность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рок аренды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арендная плата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за год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8510697"/>
                  </a:ext>
                </a:extLst>
              </a:tr>
              <a:tr h="32885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3789295"/>
                  </a:ext>
                </a:extLst>
              </a:tr>
              <a:tr h="52036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шоу-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ум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бщая площадь шоу-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ума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од бренд 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BAIC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лощадь ШР (м²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accent6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</a:t>
                      </a:r>
                      <a:r>
                        <a:rPr lang="ru-RU" sz="1050" b="0" i="0" u="sng" strike="noStrike" dirty="0">
                          <a:solidFill>
                            <a:srgbClr val="C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(Подробно см. стр. 10)</a:t>
                      </a:r>
                      <a:endParaRPr lang="ru-RU" sz="1100" b="0" i="0" u="sng" strike="noStrike" dirty="0">
                        <a:solidFill>
                          <a:srgbClr val="C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высота потолка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в шоу-руме </a:t>
                      </a:r>
                    </a:p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(не менее 4 м)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азмер фриза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хШ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(м)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фасаде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6193538"/>
                  </a:ext>
                </a:extLst>
              </a:tr>
              <a:tr h="1758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1" u="none" strike="noStrike" dirty="0">
                          <a:solidFill>
                            <a:srgbClr val="80808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1" u="none" strike="noStrike" dirty="0">
                          <a:solidFill>
                            <a:srgbClr val="80808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4074120"/>
                  </a:ext>
                </a:extLst>
              </a:tr>
              <a:tr h="34810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танция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технического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бслуживания (СТО)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лощадь СТО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лощадь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узовного цеха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ол-во постов/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одъемников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кладские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лощади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784879"/>
                  </a:ext>
                </a:extLst>
              </a:tr>
              <a:tr h="1758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3663709"/>
                  </a:ext>
                </a:extLst>
              </a:tr>
              <a:tr h="3481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лощадь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лиентской зоны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лощадь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фисной зоны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мойка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(кол-во постов)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рочие площади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борудование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3040405"/>
                  </a:ext>
                </a:extLst>
              </a:tr>
              <a:tr h="33735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969696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1" u="none" strike="noStrike" dirty="0">
                          <a:solidFill>
                            <a:srgbClr val="80808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0878331"/>
                  </a:ext>
                </a:extLst>
              </a:tr>
              <a:tr h="17584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16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рганизация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узовного ремонта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асстояние от шоу-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ума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/ зоны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приемки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о аутсорсингу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7958624"/>
                  </a:ext>
                </a:extLst>
              </a:tr>
              <a:tr h="1758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1" u="none" strike="noStrike" dirty="0">
                          <a:solidFill>
                            <a:srgbClr val="80808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а/нет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5811248"/>
                  </a:ext>
                </a:extLst>
              </a:tr>
              <a:tr h="348104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17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бренды в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уществующем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Ц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именование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бренда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этаж / площадь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родажи шт.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(2023 г.)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родажи шт.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(2024г.)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6609133"/>
                  </a:ext>
                </a:extLst>
              </a:tr>
              <a:tr h="1758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1153503"/>
                  </a:ext>
                </a:extLst>
              </a:tr>
              <a:tr h="1758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6463929"/>
                  </a:ext>
                </a:extLst>
              </a:tr>
              <a:tr h="33735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1159395"/>
                  </a:ext>
                </a:extLst>
              </a:tr>
              <a:tr h="52036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18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Ближайшие ДЦ, иные объекты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торговой инфраструктуры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звание бренда / расстояние от ДЦ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звание бренда / расстояние от ДЦ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звание бренда / расстояние от ДЦ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звание бренда / расстояние от ДЦ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2595125"/>
                  </a:ext>
                </a:extLst>
              </a:tr>
              <a:tr h="2511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1" u="none" strike="noStrike" dirty="0">
                          <a:solidFill>
                            <a:srgbClr val="80808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1" u="none" strike="noStrike" dirty="0">
                          <a:solidFill>
                            <a:srgbClr val="80808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94960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34830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C3DA1150-5D2D-D844-322A-B99332E50E3E}"/>
              </a:ext>
            </a:extLst>
          </p:cNvPr>
          <p:cNvSpPr txBox="1"/>
          <p:nvPr/>
        </p:nvSpPr>
        <p:spPr>
          <a:xfrm>
            <a:off x="464419" y="980728"/>
            <a:ext cx="8215162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ysClr val="windowText" lastClr="000000"/>
                </a:solidFill>
              </a:rPr>
              <a:t>Дополните Бизнес-план следующими данными:</a:t>
            </a:r>
          </a:p>
          <a:p>
            <a:pPr algn="ctr"/>
            <a:endParaRPr lang="ru-RU" sz="2000" b="1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ysClr val="windowText" lastClr="000000"/>
                </a:solidFill>
              </a:rPr>
              <a:t>Укажите в таблице </a:t>
            </a:r>
            <a:r>
              <a:rPr lang="ru-RU" dirty="0">
                <a:solidFill>
                  <a:sysClr val="windowText" lastClr="000000"/>
                </a:solidFill>
              </a:rPr>
              <a:t>размер</a:t>
            </a:r>
            <a:r>
              <a:rPr lang="ru-RU" sz="1800" dirty="0">
                <a:solidFill>
                  <a:sysClr val="windowText" lastClr="000000"/>
                </a:solidFill>
              </a:rPr>
              <a:t> собственного (заемного) свободного рабочего капитала для первоначальной закупки а/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800" dirty="0">
              <a:solidFill>
                <a:sysClr val="windowText" lastClr="000000"/>
              </a:solidFill>
            </a:endParaRPr>
          </a:p>
          <a:p>
            <a:endParaRPr lang="ru-RU" dirty="0">
              <a:solidFill>
                <a:sysClr val="windowText" lastClr="000000"/>
              </a:solidFill>
            </a:endParaRPr>
          </a:p>
          <a:p>
            <a:endParaRPr lang="ru-RU" sz="1800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800" dirty="0">
                <a:solidFill>
                  <a:sysClr val="windowText" lastClr="000000"/>
                </a:solidFill>
              </a:rPr>
              <a:t>Отметьте желаемый модельный микс и кол-во а/м для первой закупки;</a:t>
            </a:r>
          </a:p>
          <a:p>
            <a:r>
              <a:rPr lang="ru-RU" sz="1800" dirty="0">
                <a:solidFill>
                  <a:sysClr val="windowText" lastClr="000000"/>
                </a:solidFill>
              </a:rPr>
              <a:t> </a:t>
            </a:r>
            <a:endParaRPr lang="ru-RU" dirty="0"/>
          </a:p>
        </p:txBody>
      </p:sp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632469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Предварительный бизнес-план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7220EFF5-5BA2-F15E-FAD1-5AE77067A7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160437"/>
              </p:ext>
            </p:extLst>
          </p:nvPr>
        </p:nvGraphicFramePr>
        <p:xfrm>
          <a:off x="827584" y="2303525"/>
          <a:ext cx="7632848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24822">
                  <a:extLst>
                    <a:ext uri="{9D8B030D-6E8A-4147-A177-3AD203B41FA5}">
                      <a16:colId xmlns:a16="http://schemas.microsoft.com/office/drawing/2014/main" val="2064120156"/>
                    </a:ext>
                  </a:extLst>
                </a:gridCol>
                <a:gridCol w="2908026">
                  <a:extLst>
                    <a:ext uri="{9D8B030D-6E8A-4147-A177-3AD203B41FA5}">
                      <a16:colId xmlns:a16="http://schemas.microsoft.com/office/drawing/2014/main" val="67504201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4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Сумма млн. руб._________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Собственный или заемный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757403"/>
                  </a:ext>
                </a:extLst>
              </a:tr>
            </a:tbl>
          </a:graphicData>
        </a:graphic>
      </p:graphicFrame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34D9F55B-0F4C-B803-6C2C-4564ECCA4A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8517969"/>
              </p:ext>
            </p:extLst>
          </p:nvPr>
        </p:nvGraphicFramePr>
        <p:xfrm>
          <a:off x="827584" y="3430091"/>
          <a:ext cx="7632850" cy="286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6184">
                  <a:extLst>
                    <a:ext uri="{9D8B030D-6E8A-4147-A177-3AD203B41FA5}">
                      <a16:colId xmlns:a16="http://schemas.microsoft.com/office/drawing/2014/main" val="1686355467"/>
                    </a:ext>
                  </a:extLst>
                </a:gridCol>
                <a:gridCol w="1900221">
                  <a:extLst>
                    <a:ext uri="{9D8B030D-6E8A-4147-A177-3AD203B41FA5}">
                      <a16:colId xmlns:a16="http://schemas.microsoft.com/office/drawing/2014/main" val="3130211934"/>
                    </a:ext>
                  </a:extLst>
                </a:gridCol>
                <a:gridCol w="2298243">
                  <a:extLst>
                    <a:ext uri="{9D8B030D-6E8A-4147-A177-3AD203B41FA5}">
                      <a16:colId xmlns:a16="http://schemas.microsoft.com/office/drawing/2014/main" val="2352520253"/>
                    </a:ext>
                  </a:extLst>
                </a:gridCol>
                <a:gridCol w="1778202">
                  <a:extLst>
                    <a:ext uri="{9D8B030D-6E8A-4147-A177-3AD203B41FA5}">
                      <a16:colId xmlns:a16="http://schemas.microsoft.com/office/drawing/2014/main" val="34450272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rgbClr val="C00000"/>
                          </a:solidFill>
                        </a:rPr>
                        <a:t>Модель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>
                          <a:solidFill>
                            <a:srgbClr val="C00000"/>
                          </a:solidFill>
                        </a:rPr>
                        <a:t>Комплектация</a:t>
                      </a:r>
                      <a:endParaRPr lang="ru-RU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rgbClr val="C00000"/>
                          </a:solidFill>
                        </a:rPr>
                        <a:t>Кол-во а/м в первой парти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rgbClr val="C00000"/>
                          </a:solidFill>
                        </a:rPr>
                        <a:t>Примечания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03207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AIC U5 plus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3309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AIC X55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2787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AIC X7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380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AIC X75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59551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AIC BJ40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4061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BAIC BJ60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3071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34830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Карта / География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AF12CFF-5292-493B-BE6E-56C6477DB9CA}"/>
              </a:ext>
            </a:extLst>
          </p:cNvPr>
          <p:cNvSpPr/>
          <p:nvPr/>
        </p:nvSpPr>
        <p:spPr>
          <a:xfrm>
            <a:off x="611560" y="1052737"/>
            <a:ext cx="8047650" cy="144016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ysClr val="windowText" lastClr="000000"/>
                </a:solidFill>
              </a:rPr>
              <a:t>Вставьте карту города вместе со следующими пояснениями:</a:t>
            </a:r>
          </a:p>
          <a:p>
            <a:pPr algn="ctr"/>
            <a:endParaRPr lang="ru-RU" sz="1600" b="1" dirty="0">
              <a:solidFill>
                <a:sysClr val="windowText" lastClr="000000"/>
              </a:solidFill>
            </a:endParaRP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ysClr val="windowText" lastClr="000000"/>
                </a:solidFill>
              </a:rPr>
              <a:t>Отметка точкой предложения на карте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ysClr val="windowText" lastClr="000000"/>
                </a:solidFill>
              </a:rPr>
              <a:t>Расположение иных брендов в городе / дилерских деревень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ysClr val="windowText" lastClr="000000"/>
                </a:solidFill>
              </a:rPr>
              <a:t>Основные генераторы клиентского трафика / торговые локации / Аэропорт / ЖД Вокзал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6091" y="3344172"/>
            <a:ext cx="4720154" cy="28186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 rot="20002512">
            <a:off x="2794514" y="4582796"/>
            <a:ext cx="4032448" cy="41279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24634830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1032" y="2399807"/>
            <a:ext cx="5904656" cy="3931529"/>
          </a:xfrm>
          <a:prstGeom prst="rect">
            <a:avLst/>
          </a:prstGeom>
        </p:spPr>
      </p:pic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Схема плана территории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2" name="Прямоугольник 1"/>
          <p:cNvSpPr/>
          <p:nvPr/>
        </p:nvSpPr>
        <p:spPr>
          <a:xfrm rot="20002512">
            <a:off x="2794514" y="4077067"/>
            <a:ext cx="4032448" cy="41279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ример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DDE412C-B6C9-4148-879E-04590E100286}"/>
              </a:ext>
            </a:extLst>
          </p:cNvPr>
          <p:cNvSpPr/>
          <p:nvPr/>
        </p:nvSpPr>
        <p:spPr>
          <a:xfrm>
            <a:off x="409903" y="1066299"/>
            <a:ext cx="8174420" cy="185864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ysClr val="windowText" lastClr="000000"/>
                </a:solidFill>
              </a:rPr>
              <a:t>Схема генерального плана территории с указанием:</a:t>
            </a:r>
          </a:p>
          <a:p>
            <a:pPr algn="ctr"/>
            <a:endParaRPr lang="ru-RU" sz="1600" b="1" dirty="0">
              <a:solidFill>
                <a:sysClr val="windowText" lastClr="00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ysClr val="windowText" lastClr="000000"/>
                </a:solidFill>
              </a:rPr>
              <a:t>Въезд на территорию и маршрутизацией движения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ysClr val="windowText" lastClr="000000"/>
                </a:solidFill>
              </a:rPr>
              <a:t>Зона парковок с разбивкой: </a:t>
            </a:r>
          </a:p>
          <a:p>
            <a:pPr marL="2571750" lvl="5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ysClr val="windowText" lastClr="000000"/>
                </a:solidFill>
              </a:rPr>
              <a:t>Клиентские</a:t>
            </a:r>
          </a:p>
          <a:p>
            <a:pPr marL="2571750" lvl="5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ysClr val="windowText" lastClr="000000"/>
                </a:solidFill>
              </a:rPr>
              <a:t>А/м для тест-драйва</a:t>
            </a:r>
          </a:p>
          <a:p>
            <a:pPr marL="2571750" lvl="5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ysClr val="windowText" lastClr="000000"/>
                </a:solidFill>
              </a:rPr>
              <a:t>Хранения товарных запасов</a:t>
            </a:r>
          </a:p>
          <a:p>
            <a:pPr marL="2571750" lvl="5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ysClr val="windowText" lastClr="000000"/>
                </a:solidFill>
              </a:rPr>
              <a:t>Автомобилей находящихся в сервисе / ожидающих ремонта</a:t>
            </a:r>
          </a:p>
        </p:txBody>
      </p:sp>
    </p:spTree>
    <p:extLst>
      <p:ext uri="{BB962C8B-B14F-4D97-AF65-F5344CB8AC3E}">
        <p14:creationId xmlns:p14="http://schemas.microsoft.com/office/powerpoint/2010/main" val="1528983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MYRZ7O.kCLsYEixJuR6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A4n3edskmyz8V2L0F4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MYRZ7O.kCLsYEixJuR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A4n3edskmyz8V2L0F4BA"/>
</p:tagLst>
</file>

<file path=ppt/theme/theme1.xml><?xml version="1.0" encoding="utf-8"?>
<a:theme xmlns:a="http://schemas.openxmlformats.org/drawingml/2006/main" name="1_Office 主题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Office 主题">
      <a:majorFont>
        <a:latin typeface="Calibri"/>
        <a:ea typeface="宋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封皮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y sign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87</TotalTime>
  <Words>1433</Words>
  <Application>Microsoft Office PowerPoint</Application>
  <PresentationFormat>Экран (4:3)</PresentationFormat>
  <Paragraphs>427</Paragraphs>
  <Slides>15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5</vt:i4>
      </vt:variant>
    </vt:vector>
  </HeadingPairs>
  <TitlesOfParts>
    <vt:vector size="22" baseType="lpstr">
      <vt:lpstr>微软雅黑</vt:lpstr>
      <vt:lpstr>Arial</vt:lpstr>
      <vt:lpstr>Bahnschrift SemiBold SemiConden</vt:lpstr>
      <vt:lpstr>Calibri</vt:lpstr>
      <vt:lpstr>Wingdings</vt:lpstr>
      <vt:lpstr>1_Office 主题</vt:lpstr>
      <vt:lpstr>封皮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rvice Support Plan Chile, Peru</dc:title>
  <dc:creator>陈刚</dc:creator>
  <cp:lastModifiedBy>Игорь А. Горлачев</cp:lastModifiedBy>
  <cp:revision>269</cp:revision>
  <dcterms:created xsi:type="dcterms:W3CDTF">2013-11-15T12:28:47Z</dcterms:created>
  <dcterms:modified xsi:type="dcterms:W3CDTF">2025-01-22T13:08:26Z</dcterms:modified>
</cp:coreProperties>
</file>